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1718" r:id="rId5"/>
    <p:sldId id="1786" r:id="rId6"/>
    <p:sldId id="1760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9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te Nielsen" initials="MN" lastIdx="28" clrIdx="0">
    <p:extLst>
      <p:ext uri="{19B8F6BF-5375-455C-9EA6-DF929625EA0E}">
        <p15:presenceInfo xmlns:p15="http://schemas.microsoft.com/office/powerpoint/2012/main" userId="S::meni@epinionglobal.com::83d51f75-acb3-4a5e-8c85-b0f3a33ade86" providerId="AD"/>
      </p:ext>
    </p:extLst>
  </p:cmAuthor>
  <p:cmAuthor id="2" name="Berit Didriksen" initials="BD" lastIdx="13" clrIdx="1">
    <p:extLst>
      <p:ext uri="{19B8F6BF-5375-455C-9EA6-DF929625EA0E}">
        <p15:presenceInfo xmlns:p15="http://schemas.microsoft.com/office/powerpoint/2012/main" userId="S::bedi@epinionglobal.com::f92beea0-158e-4c57-8619-7c9477b32cc1" providerId="AD"/>
      </p:ext>
    </p:extLst>
  </p:cmAuthor>
  <p:cmAuthor id="3" name="Anders Thomsen" initials="AT" lastIdx="1" clrIdx="2">
    <p:extLst>
      <p:ext uri="{19B8F6BF-5375-455C-9EA6-DF929625EA0E}">
        <p15:presenceInfo xmlns:p15="http://schemas.microsoft.com/office/powerpoint/2012/main" userId="S::anders.thomsen@nomorehours.com::4f1a3f9b-96e0-41a9-92a4-855bdcbae1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A89A"/>
    <a:srgbClr val="004337"/>
    <a:srgbClr val="A7C7D7"/>
    <a:srgbClr val="BA7384"/>
    <a:srgbClr val="68838B"/>
    <a:srgbClr val="EBC882"/>
    <a:srgbClr val="233CA0"/>
    <a:srgbClr val="641E3C"/>
    <a:srgbClr val="E8E1D5"/>
    <a:srgbClr val="C180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89936" autoAdjust="0"/>
  </p:normalViewPr>
  <p:slideViewPr>
    <p:cSldViewPr snapToGrid="0" showGuides="1">
      <p:cViewPr varScale="1">
        <p:scale>
          <a:sx n="124" d="100"/>
          <a:sy n="124" d="100"/>
        </p:scale>
        <p:origin x="126" y="234"/>
      </p:cViewPr>
      <p:guideLst>
        <p:guide orient="horz" pos="329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7033918-B5A7-4020-81E5-B4C55EA439E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AA74D7-7DED-429A-ADE6-A561A458D3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70452E-462F-400B-A282-5C41EC7D3501}" type="datetimeFigureOut">
              <a:rPr lang="en-GB" smtClean="0">
                <a:latin typeface="Arial" panose="020B0604020202020204" pitchFamily="34" charset="0"/>
              </a:rPr>
              <a:t>13/09/2022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0C3921-CFAD-4D2A-B645-8AE4D74B80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B35D2-521A-4D91-8918-100965C64E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76C12-CF06-46EB-B7B1-3AA4CEA859E7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600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DA2C52-8F66-4064-A11F-04B3EC4200CF}" type="datetimeFigureOut">
              <a:rPr lang="en-IN" smtClean="0">
                <a:latin typeface="Arial" panose="020B0604020202020204" pitchFamily="34" charset="0"/>
              </a:rPr>
              <a:t>13-09-2022</a:t>
            </a:fld>
            <a:endParaRPr lang="en-IN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C79154-767E-4FA0-9228-6FDBEECC10CE}" type="slidenum">
              <a:rPr lang="en-IN" smtClean="0">
                <a:latin typeface="Arial" panose="020B0604020202020204" pitchFamily="34" charset="0"/>
              </a:rPr>
              <a:t>‹#›</a:t>
            </a:fld>
            <a:endParaRPr lang="en-IN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37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E749643-82BB-4750-B84B-7DF9D6423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67AD3263-B386-4CF4-8B26-56DFAFB36F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239009CB-605A-45CC-85D2-378431FF05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ABE5316-8C6F-4C72-8D63-6C8E4879C6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13717" y="0"/>
            <a:ext cx="7690983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2224FEC-C587-406E-B81B-F350B0F02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1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ction Title">
            <a:extLst>
              <a:ext uri="{FF2B5EF4-FFF2-40B4-BE49-F238E27FC236}">
                <a16:creationId xmlns:a16="http://schemas.microsoft.com/office/drawing/2014/main" id="{A6296DE5-DAF1-4B80-B326-C8BCAC25F4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1307041"/>
            <a:ext cx="7200000" cy="1548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5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F73E5EEF-A2A0-4612-BB7A-D302EAE43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3025775"/>
            <a:ext cx="4679950" cy="719138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Optional - Summarize the coming section here in a short paragraph to give the audiences a sneak preview of the contents</a:t>
            </a:r>
          </a:p>
        </p:txBody>
      </p:sp>
    </p:spTree>
    <p:extLst>
      <p:ext uri="{BB962C8B-B14F-4D97-AF65-F5344CB8AC3E}">
        <p14:creationId xmlns:p14="http://schemas.microsoft.com/office/powerpoint/2010/main" val="363424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14618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1137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A03F2B1F-6935-4149-AB6B-39F762F6B6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1137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2" name="Base Number">
            <a:extLst>
              <a:ext uri="{FF2B5EF4-FFF2-40B4-BE49-F238E27FC236}">
                <a16:creationId xmlns:a16="http://schemas.microsoft.com/office/drawing/2014/main" id="{F02EBC59-7B5C-4152-A580-F9A83A8394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cxnSp>
        <p:nvCxnSpPr>
          <p:cNvPr id="13" name="Straight Connector">
            <a:extLst>
              <a:ext uri="{FF2B5EF4-FFF2-40B4-BE49-F238E27FC236}">
                <a16:creationId xmlns:a16="http://schemas.microsoft.com/office/drawing/2014/main" id="{E40970D7-D136-4DC5-B905-8C1D23185495}"/>
              </a:ext>
            </a:extLst>
          </p:cNvPr>
          <p:cNvCxnSpPr>
            <a:cxnSpLocks/>
          </p:cNvCxnSpPr>
          <p:nvPr userDrawn="1"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22349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987325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A03F2B1F-6935-4149-AB6B-39F762F6B6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1137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2" name="Base Number">
            <a:extLst>
              <a:ext uri="{FF2B5EF4-FFF2-40B4-BE49-F238E27FC236}">
                <a16:creationId xmlns:a16="http://schemas.microsoft.com/office/drawing/2014/main" id="{F02EBC59-7B5C-4152-A580-F9A83A8394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cxnSp>
        <p:nvCxnSpPr>
          <p:cNvPr id="13" name="Straight Connector">
            <a:extLst>
              <a:ext uri="{FF2B5EF4-FFF2-40B4-BE49-F238E27FC236}">
                <a16:creationId xmlns:a16="http://schemas.microsoft.com/office/drawing/2014/main" id="{E40970D7-D136-4DC5-B905-8C1D23185495}"/>
              </a:ext>
            </a:extLst>
          </p:cNvPr>
          <p:cNvCxnSpPr>
            <a:cxnSpLocks/>
          </p:cNvCxnSpPr>
          <p:nvPr userDrawn="1"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" name="Content Placeholder Mean">
            <a:extLst>
              <a:ext uri="{FF2B5EF4-FFF2-40B4-BE49-F238E27FC236}">
                <a16:creationId xmlns:a16="http://schemas.microsoft.com/office/drawing/2014/main" id="{D4A1DAD1-F73B-42AD-A79E-6E952CE13A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0281237" y="2370137"/>
            <a:ext cx="1501886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1179661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11376000" cy="3795703"/>
          </a:xfrm>
        </p:spPr>
        <p:txBody>
          <a:bodyPr lIns="0" tIns="0" rIns="0" bIns="0" numCol="3">
            <a:noAutofit/>
          </a:bodyPr>
          <a:lstStyle>
            <a:lvl1pPr marL="171450" indent="-171450">
              <a:spcAft>
                <a:spcPts val="1000"/>
              </a:spcAft>
              <a:buFont typeface="Arial" panose="020B0604020202020204" pitchFamily="34" charset="0"/>
              <a:buChar char="•"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A03F2B1F-6935-4149-AB6B-39F762F6B6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1137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2" name="Base Number">
            <a:extLst>
              <a:ext uri="{FF2B5EF4-FFF2-40B4-BE49-F238E27FC236}">
                <a16:creationId xmlns:a16="http://schemas.microsoft.com/office/drawing/2014/main" id="{F02EBC59-7B5C-4152-A580-F9A83A8394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cxnSp>
        <p:nvCxnSpPr>
          <p:cNvPr id="13" name="Straight Connector">
            <a:extLst>
              <a:ext uri="{FF2B5EF4-FFF2-40B4-BE49-F238E27FC236}">
                <a16:creationId xmlns:a16="http://schemas.microsoft.com/office/drawing/2014/main" id="{E40970D7-D136-4DC5-B905-8C1D23185495}"/>
              </a:ext>
            </a:extLst>
          </p:cNvPr>
          <p:cNvCxnSpPr>
            <a:cxnSpLocks/>
          </p:cNvCxnSpPr>
          <p:nvPr userDrawn="1"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000259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543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 Number 1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 1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543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7762" y="1463675"/>
            <a:ext cx="543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 Number 2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47762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 2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04002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47749" y="2371440"/>
            <a:ext cx="543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cxnSp>
        <p:nvCxnSpPr>
          <p:cNvPr id="15" name="Straight Connector 1">
            <a:extLst>
              <a:ext uri="{FF2B5EF4-FFF2-40B4-BE49-F238E27FC236}">
                <a16:creationId xmlns:a16="http://schemas.microsoft.com/office/drawing/2014/main" id="{374E414F-AF8F-4ACF-BDD4-5648B1AB87DB}"/>
              </a:ext>
            </a:extLst>
          </p:cNvPr>
          <p:cNvCxnSpPr>
            <a:cxnSpLocks/>
          </p:cNvCxnSpPr>
          <p:nvPr userDrawn="1"/>
        </p:nvCxnSpPr>
        <p:spPr>
          <a:xfrm>
            <a:off x="407987" y="1931675"/>
            <a:ext cx="5440680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8" name="Straight Connector 2">
            <a:extLst>
              <a:ext uri="{FF2B5EF4-FFF2-40B4-BE49-F238E27FC236}">
                <a16:creationId xmlns:a16="http://schemas.microsoft.com/office/drawing/2014/main" id="{07210D9F-3FCE-414B-978D-A7DCC9F01E2F}"/>
              </a:ext>
            </a:extLst>
          </p:cNvPr>
          <p:cNvCxnSpPr>
            <a:cxnSpLocks/>
          </p:cNvCxnSpPr>
          <p:nvPr userDrawn="1"/>
        </p:nvCxnSpPr>
        <p:spPr>
          <a:xfrm>
            <a:off x="6343082" y="1931675"/>
            <a:ext cx="5440680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543291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 Number 1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345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68000" y="1463675"/>
            <a:ext cx="345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 Number 2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000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24240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67987" y="2371440"/>
            <a:ext cx="345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6" name="Caption">
            <a:extLst>
              <a:ext uri="{FF2B5EF4-FFF2-40B4-BE49-F238E27FC236}">
                <a16:creationId xmlns:a16="http://schemas.microsoft.com/office/drawing/2014/main" id="{52B5E565-E6BF-4552-8E3F-0637A546F1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27987" y="1463675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aption – 14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</a:p>
        </p:txBody>
      </p:sp>
      <p:sp>
        <p:nvSpPr>
          <p:cNvPr id="24" name="Base Number 3">
            <a:extLst>
              <a:ext uri="{FF2B5EF4-FFF2-40B4-BE49-F238E27FC236}">
                <a16:creationId xmlns:a16="http://schemas.microsoft.com/office/drawing/2014/main" id="{6A2E9C06-F9B2-4C5C-BEE4-21BDD73FB5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2801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5" name="Unit">
            <a:extLst>
              <a:ext uri="{FF2B5EF4-FFF2-40B4-BE49-F238E27FC236}">
                <a16:creationId xmlns:a16="http://schemas.microsoft.com/office/drawing/2014/main" id="{8D633585-772A-44BD-854B-F434102E87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425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27987" y="2371440"/>
            <a:ext cx="345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575733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246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77996" y="1463675"/>
            <a:ext cx="246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996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4236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77996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6" name="Caption">
            <a:extLst>
              <a:ext uri="{FF2B5EF4-FFF2-40B4-BE49-F238E27FC236}">
                <a16:creationId xmlns:a16="http://schemas.microsoft.com/office/drawing/2014/main" id="{52B5E565-E6BF-4552-8E3F-0637A546F1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48005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4" name="Base">
            <a:extLst>
              <a:ext uri="{FF2B5EF4-FFF2-40B4-BE49-F238E27FC236}">
                <a16:creationId xmlns:a16="http://schemas.microsoft.com/office/drawing/2014/main" id="{6A2E9C06-F9B2-4C5C-BEE4-21BDD73FB5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8005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5" name="Unit">
            <a:extLst>
              <a:ext uri="{FF2B5EF4-FFF2-40B4-BE49-F238E27FC236}">
                <a16:creationId xmlns:a16="http://schemas.microsoft.com/office/drawing/2014/main" id="{8D633585-772A-44BD-854B-F434102E87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04245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8005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Caption">
            <a:extLst>
              <a:ext uri="{FF2B5EF4-FFF2-40B4-BE49-F238E27FC236}">
                <a16:creationId xmlns:a16="http://schemas.microsoft.com/office/drawing/2014/main" id="{9D819E38-CC89-450F-A4FC-0D4C76CE01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8013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8" name="Content Placeholder">
            <a:extLst>
              <a:ext uri="{FF2B5EF4-FFF2-40B4-BE49-F238E27FC236}">
                <a16:creationId xmlns:a16="http://schemas.microsoft.com/office/drawing/2014/main" id="{CA183741-10FA-4564-BDB0-92973429494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318013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9" name="Base">
            <a:extLst>
              <a:ext uri="{FF2B5EF4-FFF2-40B4-BE49-F238E27FC236}">
                <a16:creationId xmlns:a16="http://schemas.microsoft.com/office/drawing/2014/main" id="{A27D3EB7-3148-430F-84A8-56DF38ABE56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1801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30" name="Unit">
            <a:extLst>
              <a:ext uri="{FF2B5EF4-FFF2-40B4-BE49-F238E27FC236}">
                <a16:creationId xmlns:a16="http://schemas.microsoft.com/office/drawing/2014/main" id="{60883A15-1179-48B6-94C5-6FDDB24A840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7425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</p:spTree>
    <p:extLst>
      <p:ext uri="{BB962C8B-B14F-4D97-AF65-F5344CB8AC3E}">
        <p14:creationId xmlns:p14="http://schemas.microsoft.com/office/powerpoint/2010/main" val="3428481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741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741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27987" y="1463674"/>
            <a:ext cx="3456000" cy="4702166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4526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8424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8424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31" name="Content Placeholder">
            <a:extLst>
              <a:ext uri="{FF2B5EF4-FFF2-40B4-BE49-F238E27FC236}">
                <a16:creationId xmlns:a16="http://schemas.microsoft.com/office/drawing/2014/main" id="{B0145A31-CD23-462D-9D59-DAD762B1A435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318012" y="1931674"/>
            <a:ext cx="2466000" cy="4234165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0616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port Title">
            <a:extLst>
              <a:ext uri="{FF2B5EF4-FFF2-40B4-BE49-F238E27FC236}">
                <a16:creationId xmlns:a16="http://schemas.microsoft.com/office/drawing/2014/main" id="{CB3A07CD-B899-43FD-8A73-45BC4833D1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2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Client Name">
            <a:extLst>
              <a:ext uri="{FF2B5EF4-FFF2-40B4-BE49-F238E27FC236}">
                <a16:creationId xmlns:a16="http://schemas.microsoft.com/office/drawing/2014/main" id="{5A209CA9-A888-464A-83BA-4DA79ABAF2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5D237AB7-C4CB-4A29-96EF-20265D8AB2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595719D-61DD-4315-A03C-9F73BCEC00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13717" y="-1"/>
            <a:ext cx="7690984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DAC5B31-49C3-4086-9056-A22D275B31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501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066A117-9133-4BFD-85B8-5FA1049502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00500" y="0"/>
            <a:ext cx="8191500" cy="40767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3497262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1D785A0-A6F2-46A8-92BF-85DC45FB67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513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2B44D48-6049-4DA8-B067-CA45A8C45F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00500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085F696-58F7-45D9-8D8A-F7B08E1C3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3487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85800"/>
            <a:ext cx="5746070" cy="2464584"/>
          </a:xfrm>
        </p:spPr>
        <p:txBody>
          <a:bodyPr anchor="t" anchorCtr="0"/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ction title – 22pt – Arial – Bold – R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2292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BAC372-1038-4D07-A21D-99F145F6BF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4BD220D-E768-4014-9C74-321A771112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84321315-6753-47D0-AFE8-B567674650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8" y="-1"/>
            <a:ext cx="7705498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ADF78AA-7C0E-435D-8761-6006484CC9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30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rgbClr val="0F2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7" y="0"/>
            <a:ext cx="7705497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5B40907C-99A9-4E4E-8E97-7C91A80C7F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7024FD7-5401-4B9E-AD0D-6792E8E714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B7B6519F-39BE-4196-902C-F1A568759B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7CEE7E9-6BD5-4514-9A7B-5E4F69DFF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984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rgbClr val="233C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7" y="0"/>
            <a:ext cx="7705497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4FB4EB0-4B7A-4598-AD34-B94776D5A3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CAED05-2E00-442A-BCE3-80CAC4F21F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DFEEA35-111E-409B-8444-2F4A5C8B59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CE52FAF-F160-4EFD-AA91-A42D1BFB32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75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</a:t>
            </a:r>
            <a:endParaRPr lang="en-IN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2FBF95A-93A8-4B24-A015-04C069E366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E220BE52-2562-4CD0-8061-8A1E73BA96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BE8C29E-04DE-458C-87AB-AC9DE1825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4BBB942-D0E0-4BB4-BFA4-94432AC99B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ECBB47F0-C5B9-47A9-A3BC-0BE363A791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815891FE-7A3B-4B0B-82FD-8B5FB1513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DB720A88-6A60-4395-A92E-056E4FB73D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F8A6769-94A8-44E9-A193-1212B6D1F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0EAE982-F615-4B62-8CF9-B7CC368B68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D838C54-0D2B-4532-8988-1BC763AB9D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99A377E5-D9C0-44CD-962F-D97DB016BE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4E1B26F3-EEBC-4AF8-8D10-17FDF1968C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1D24CEB-851D-44EF-A3A5-312121AD1A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8615EDE-F1C4-4242-A3A2-F434AAFE9F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3C68748-FE1A-4FBB-9E72-CA14445F98B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0AAAB725-9791-47F2-9144-AAD3340C41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B1D2B40-3E79-4237-BF2D-B8B1DA79C0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CE9A9FD3-95F1-46A8-8EFC-325C281484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DA99E9A-6D52-4BA2-B938-C878FA10E36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E340B304-370E-48F2-906B-121E0E3C402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B31AD09B-4E40-4401-A8DE-FB6DAF1741B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19B816FC-6750-4121-AF9E-31DD46D5E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9105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</a:t>
            </a:r>
            <a:endParaRPr lang="en-IN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F8A6769-94A8-44E9-A193-1212B6D1F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19B816FC-6750-4121-AF9E-31DD46D5E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866E01-1DF5-4041-99E6-124DB5A1FBD5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214938" y="1465263"/>
            <a:ext cx="6569075" cy="42116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005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C5FB038E-029B-4168-9B31-ACB6E383D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0BC0BBA-267A-4704-9E1E-AD4033664A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68D2F4C-3FD2-435A-BF89-03FBBA3B2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7E2A5DF-6CC6-49EE-A806-28BFED67BB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B209216-D91D-4F27-A7D0-9F466A3047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AB1CB83E-6D1A-4C50-A189-549262D456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8CCA61F-AD7C-4CE3-BE1F-A1890CF5CA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0255A8FB-B34C-4F17-BE4D-43B361DF97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55C943F3-A625-4ABE-82D8-51C14CB97D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11160DD5-7044-42C5-AE71-4B5E041BC04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FF6CD507-D672-44E5-837B-153ED27F09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D7C5AA6-76F7-49EB-B7E9-2375EEDC2C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9467F73C-7E92-4553-A2EE-F96B11F20A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93495ED-5F67-4B90-AC48-DBD6033925A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B2239926-CAE5-4E39-B569-508810D6A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D279787E-FC3C-468A-9617-D3FADA9F9C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7C196A9-F9E7-415E-BC0C-8A78AC70B08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D9F509B1-EF9C-49B1-A7FB-B8452E4901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4257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B4D355A-1BBB-4A62-A7A0-134168E4F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07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06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B4D355A-1BBB-4A62-A7A0-134168E4F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155093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eeting</a:t>
            </a:r>
            <a:br>
              <a:rPr lang="en-US" dirty="0"/>
            </a:br>
            <a:r>
              <a:rPr lang="en-US" dirty="0"/>
              <a:t>Agenda</a:t>
            </a:r>
            <a:endParaRPr lang="en-IN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40500" y="146553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0500" y="175096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043DF886-32CC-40D6-8503-40E6D78DA6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14938" y="212847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C08DE867-537D-4133-A024-20CC75166A5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40500" y="212847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29FB31ED-A1E4-49D2-80CA-58A62FA20C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40500" y="241390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7F33D839-25A1-455B-95CD-2999AB40462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4938" y="278379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D7F6B28D-CB3B-4333-AA8A-3B90691F51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40500" y="278379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85E10577-5D96-46A7-BB65-E32409621A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40500" y="306922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08AD882C-8D12-4D56-AF2E-0F833B4F1A7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14938" y="34543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D9ADFFB2-CDD2-493E-8B7E-F22E540C788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40500" y="34543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488CDAB5-7FC0-4500-A3AC-98C2D90435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40500" y="37397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DA74EABD-2641-421E-819D-819677D11D6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14938" y="41401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0EA8ABFE-F636-46DE-96C5-39F2EEA8CC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540500" y="41401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A30BF897-6833-408D-B036-EDF75229823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40500" y="44255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1452A93-9ADD-4388-B07A-A356B7898F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214938" y="48259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4" name="Text Placeholder 6">
            <a:extLst>
              <a:ext uri="{FF2B5EF4-FFF2-40B4-BE49-F238E27FC236}">
                <a16:creationId xmlns:a16="http://schemas.microsoft.com/office/drawing/2014/main" id="{1654D6B1-FB65-495A-BB5D-A1FE9F83E13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540500" y="48259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73E3723A-BDD6-4180-9DC7-B07EAB021A3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540500" y="51113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C7E042BD-94E5-453C-B57C-4BA94CDB41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14938" y="55117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BED8272-9CE9-482E-9523-84207BDD523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540500" y="55117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95860DC7-CEAC-4CD2-ACBC-F0FB87F127E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540500" y="57971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46777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4D5322-7226-47BB-9609-9069BEED8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99279"/>
            <a:ext cx="11376025" cy="720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– Arial – Bold – Font size 22pt – Action title – Dark blue</a:t>
            </a:r>
            <a:br>
              <a:rPr lang="en-US" dirty="0"/>
            </a:br>
            <a:r>
              <a:rPr lang="en-US" dirty="0"/>
              <a:t>Max 2 line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30C26D-03BF-4FE0-A7D8-559D50F69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51429"/>
            <a:ext cx="11376024" cy="47144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goes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2D2DE-F95A-4E6B-B75F-6BE05392D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383" y="6209555"/>
            <a:ext cx="9517966" cy="402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A5D339-D3A1-4359-9126-FB2024961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88334DB-0460-44F9-9F9B-087CCADF9CE3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844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724" r:id="rId7"/>
    <p:sldLayoutId id="2147483686" r:id="rId8"/>
    <p:sldLayoutId id="2147483689" r:id="rId9"/>
    <p:sldLayoutId id="2147483725" r:id="rId10"/>
    <p:sldLayoutId id="2147483680" r:id="rId11"/>
    <p:sldLayoutId id="2147483718" r:id="rId12"/>
    <p:sldLayoutId id="2147483727" r:id="rId13"/>
    <p:sldLayoutId id="2147483726" r:id="rId14"/>
    <p:sldLayoutId id="2147483719" r:id="rId15"/>
    <p:sldLayoutId id="2147483720" r:id="rId16"/>
    <p:sldLayoutId id="2147483722" r:id="rId17"/>
    <p:sldLayoutId id="2147483721" r:id="rId18"/>
    <p:sldLayoutId id="2147483723" r:id="rId19"/>
    <p:sldLayoutId id="2147483711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4000" indent="-234000" algn="l" defTabSz="914400" rtl="0" eaLnBrk="1" latinLnBrk="0" hangingPunct="1">
        <a:lnSpc>
          <a:spcPct val="100000"/>
        </a:lnSpc>
        <a:spcBef>
          <a:spcPts val="0"/>
        </a:spcBef>
        <a:buClr>
          <a:srgbClr val="DF4445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orient="horz" pos="914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orient="horz" pos="41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2A3C30-62F2-4A5C-B4A7-F9929DBB41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4EFB31-0A4C-40E2-93F5-D23B5AD84F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74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328ECE-1BB1-4CB6-A75A-FB855491A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8E6BFB-8524-45C5-A28D-8795152ED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DA2AB0-7E45-4C83-AB84-A4C393381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h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584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5611269-964C-4962-8D37-1E27EFD3F98D}"/>
              </a:ext>
            </a:extLst>
          </p:cNvPr>
          <p:cNvSpPr txBox="1"/>
          <p:nvPr/>
        </p:nvSpPr>
        <p:spPr>
          <a:xfrm>
            <a:off x="407988" y="2837584"/>
            <a:ext cx="6003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err="1">
                <a:solidFill>
                  <a:schemeClr val="tx2"/>
                </a:solidFill>
              </a:rPr>
              <a:t>Epinion</a:t>
            </a:r>
            <a:r>
              <a:rPr lang="en-US" sz="1200" b="1" dirty="0">
                <a:solidFill>
                  <a:schemeClr val="tx2"/>
                </a:solidFill>
              </a:rPr>
              <a:t> Copenhagen</a:t>
            </a:r>
          </a:p>
          <a:p>
            <a:pPr algn="l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A27BA4-6EEE-48DB-9118-B60819299600}"/>
              </a:ext>
            </a:extLst>
          </p:cNvPr>
          <p:cNvSpPr txBox="1"/>
          <p:nvPr/>
        </p:nvSpPr>
        <p:spPr>
          <a:xfrm>
            <a:off x="407988" y="3153247"/>
            <a:ext cx="6003925" cy="1456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yesgade 3F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200 Copenhagen N  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nmark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: +45 87 30 95 00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: copenhagen@epinionglobal.com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ww.epinionglobal.com </a:t>
            </a:r>
          </a:p>
          <a:p>
            <a:pPr marR="51431" lvl="0" defTabSz="822710">
              <a:lnSpc>
                <a:spcPct val="114000"/>
              </a:lnSpc>
              <a:defRPr/>
            </a:pPr>
            <a:endParaRPr lang="de-DE" sz="1200" kern="0" dirty="0">
              <a:solidFill>
                <a:schemeClr val="tx2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326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4">
      <a:dk1>
        <a:srgbClr val="0F283C"/>
      </a:dk1>
      <a:lt1>
        <a:sysClr val="window" lastClr="FFFFFF"/>
      </a:lt1>
      <a:dk2>
        <a:srgbClr val="E14646"/>
      </a:dk2>
      <a:lt2>
        <a:srgbClr val="0F283C"/>
      </a:lt2>
      <a:accent1>
        <a:srgbClr val="641E3C"/>
      </a:accent1>
      <a:accent2>
        <a:srgbClr val="F0ECE4"/>
      </a:accent2>
      <a:accent3>
        <a:srgbClr val="233CA0"/>
      </a:accent3>
      <a:accent4>
        <a:srgbClr val="E8E1D5"/>
      </a:accent4>
      <a:accent5>
        <a:srgbClr val="004337"/>
      </a:accent5>
      <a:accent6>
        <a:srgbClr val="C18022"/>
      </a:accent6>
      <a:hlink>
        <a:srgbClr val="73A89A"/>
      </a:hlink>
      <a:folHlink>
        <a:srgbClr val="EBC88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>
          <a:solidFill>
            <a:schemeClr val="tx2"/>
          </a:solidFill>
          <a:prstDash val="solid"/>
          <a:miter lim="800000"/>
          <a:headEnd type="none" w="sm" len="sm"/>
          <a:tailEnd type="none" w="sm" len="sm"/>
        </a:ln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inion Template v1.0.pptx" id="{3526E43E-ACE1-480A-A664-B02E9A4CBE9A}" vid="{EA814B3C-4366-48B2-8825-8A2A352B9B5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404435b9-b065-43a7-8f7f-43d651e9a82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D3CCAE532A8840B563F9ED91E05FAC" ma:contentTypeVersion="14" ma:contentTypeDescription="Create a new document." ma:contentTypeScope="" ma:versionID="69b4eff98bf445ed83edb9bf47e438a4">
  <xsd:schema xmlns:xsd="http://www.w3.org/2001/XMLSchema" xmlns:xs="http://www.w3.org/2001/XMLSchema" xmlns:p="http://schemas.microsoft.com/office/2006/metadata/properties" xmlns:ns2="404435b9-b065-43a7-8f7f-43d651e9a825" xmlns:ns3="806ed226-a39a-48c2-8ef1-276623de76ba" targetNamespace="http://schemas.microsoft.com/office/2006/metadata/properties" ma:root="true" ma:fieldsID="90bc86086e4847f3724fe34ba4e0c35d" ns2:_="" ns3:_="">
    <xsd:import namespace="404435b9-b065-43a7-8f7f-43d651e9a825"/>
    <xsd:import namespace="806ed226-a39a-48c2-8ef1-276623de76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EventHashCode" minOccurs="0"/>
                <xsd:element ref="ns2:MediaServiceGenerationTime" minOccurs="0"/>
                <xsd:element ref="ns2:Description0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4435b9-b065-43a7-8f7f-43d651e9a8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Description0" ma:index="18" nillable="true" ma:displayName="Description" ma:format="Dropdown" ma:internalName="Description0">
      <xsd:simpleType>
        <xsd:restriction base="dms:Text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6ed226-a39a-48c2-8ef1-276623de76b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6338A3-6E9C-41C7-93A8-F0FC41A466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1A7954-803A-42AD-A5C2-36120802CB6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0419f1cd-e9d1-4480-b2cb-429c0b7c1613"/>
    <ds:schemaRef ds:uri="http://www.w3.org/XML/1998/namespace"/>
    <ds:schemaRef ds:uri="http://schemas.openxmlformats.org/package/2006/metadata/core-properties"/>
    <ds:schemaRef ds:uri="1701e586-c14a-4fb7-b57e-ebe902239237"/>
    <ds:schemaRef ds:uri="http://purl.org/dc/dcmitype/"/>
    <ds:schemaRef ds:uri="http://purl.org/dc/terms/"/>
    <ds:schemaRef ds:uri="404435b9-b065-43a7-8f7f-43d651e9a825"/>
  </ds:schemaRefs>
</ds:datastoreItem>
</file>

<file path=customXml/itemProps3.xml><?xml version="1.0" encoding="utf-8"?>
<ds:datastoreItem xmlns:ds="http://schemas.openxmlformats.org/officeDocument/2006/customXml" ds:itemID="{86AEC2A1-3255-4211-A949-E1ED5872F0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4435b9-b065-43a7-8f7f-43d651e9a825"/>
    <ds:schemaRef ds:uri="806ed226-a39a-48c2-8ef1-276623de76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1</TotalTime>
  <Words>30</Words>
  <Application>Microsoft Office PowerPoint</Application>
  <PresentationFormat>Widescreen</PresentationFormat>
  <Paragraphs>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Wingdings</vt:lpstr>
      <vt:lpstr>Office-tema</vt:lpstr>
      <vt:lpstr>think-cell Slide</vt:lpstr>
      <vt:lpstr>PowerPoint Presentation</vt:lpstr>
      <vt:lpstr>Indhol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Berit Didriksen</dc:creator>
  <cp:lastModifiedBy>Huynh Thi Trung Khanh</cp:lastModifiedBy>
  <cp:revision>330</cp:revision>
  <dcterms:created xsi:type="dcterms:W3CDTF">2019-08-16T11:26:56Z</dcterms:created>
  <dcterms:modified xsi:type="dcterms:W3CDTF">2022-09-13T03:5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393358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6DD3CCAE532A8840B563F9ED91E05FAC</vt:lpwstr>
  </property>
</Properties>
</file>